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892" r:id="rId2"/>
    <p:sldId id="895" r:id="rId3"/>
    <p:sldId id="894" r:id="rId4"/>
  </p:sldIdLst>
  <p:sldSz cx="12192000" cy="6858000"/>
  <p:notesSz cx="6797675" cy="9928225"/>
  <p:custDataLst>
    <p:tags r:id="rId7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7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401">
          <p15:clr>
            <a:srgbClr val="A4A3A4"/>
          </p15:clr>
        </p15:guide>
        <p15:guide id="4" orient="horz" pos="3793" userDrawn="1">
          <p15:clr>
            <a:srgbClr val="A4A3A4"/>
          </p15:clr>
        </p15:guide>
        <p15:guide id="5" pos="2048" userDrawn="1">
          <p15:clr>
            <a:srgbClr val="A4A3A4"/>
          </p15:clr>
        </p15:guide>
        <p15:guide id="10" pos="4520">
          <p15:clr>
            <a:srgbClr val="A4A3A4"/>
          </p15:clr>
        </p15:guide>
        <p15:guide id="11" orient="horz" pos="11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58D"/>
    <a:srgbClr val="2F75B5"/>
    <a:srgbClr val="D0E1EE"/>
    <a:srgbClr val="4886BE"/>
    <a:srgbClr val="10A4D2"/>
    <a:srgbClr val="233C78"/>
    <a:srgbClr val="203764"/>
    <a:srgbClr val="C00000"/>
    <a:srgbClr val="FFFFFF"/>
    <a:srgbClr val="1D12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71" autoAdjust="0"/>
    <p:restoredTop sz="95735" autoAdjust="0"/>
  </p:normalViewPr>
  <p:slideViewPr>
    <p:cSldViewPr snapToGrid="0">
      <p:cViewPr varScale="1">
        <p:scale>
          <a:sx n="101" d="100"/>
          <a:sy n="101" d="100"/>
        </p:scale>
        <p:origin x="96" y="173"/>
      </p:cViewPr>
      <p:guideLst>
        <p:guide orient="horz" pos="187"/>
        <p:guide pos="325"/>
        <p:guide pos="7401"/>
        <p:guide orient="horz" pos="3793"/>
        <p:guide pos="2048"/>
        <p:guide pos="4520"/>
        <p:guide orient="horz" pos="116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5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DEC0AE41-60DF-19F4-9FA2-FE6479B9AF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037652B-8B45-6FF7-9E4A-4C33284100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B710F35-57A0-EE48-BE76-D10CAD4E74E4}" type="datetimeFigureOut">
              <a:rPr lang="ru-RU"/>
              <a:pPr>
                <a:defRPr/>
              </a:pPr>
              <a:t>13.02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E26056A-2908-1E00-3F80-A0A0D771A3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3852CD8-08E2-9907-1162-3BB07FA467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27243AC-1598-C046-8D85-900D2E8FDC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08C85AA3-575C-8CB7-B5C8-D9DCDE8793F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6C9F1F-7402-60D7-0395-878A251A061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955" y="1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45CE0B5-28CA-C248-B3F2-233800D10280}" type="datetimeFigureOut">
              <a:rPr lang="ru-RU"/>
              <a:pPr>
                <a:defRPr/>
              </a:pPr>
              <a:t>13.02.2025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E7E0263-CFA0-955A-3B69-DA577429168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6" rIns="91294" bIns="4564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D9A41C39-A695-8732-BCE9-FAF57049220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244" y="4778673"/>
            <a:ext cx="5437188" cy="3908525"/>
          </a:xfrm>
          <a:prstGeom prst="rect">
            <a:avLst/>
          </a:prstGeom>
        </p:spPr>
        <p:txBody>
          <a:bodyPr vert="horz" lIns="91294" tIns="45646" rIns="91294" bIns="45646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1ABE2CC-8F17-C4D3-D507-F9A50112BED4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CAB466-6BDE-F281-67D7-2E71E3CD33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955" y="9430546"/>
            <a:ext cx="2946135" cy="497679"/>
          </a:xfrm>
          <a:prstGeom prst="rect">
            <a:avLst/>
          </a:prstGeom>
        </p:spPr>
        <p:txBody>
          <a:bodyPr vert="horz" lIns="91294" tIns="45646" rIns="91294" bIns="45646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8F59DD6-E7DE-B347-B32C-56244998EEF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7051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55EFB3-4D89-83D0-0EE6-926E4C50A7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76575-B14E-6F73-7BC6-0A977627B687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7657630-173D-EF10-249D-8D4E8DBE8A8F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6379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FE90AA-6615-4C89-89CB-F383CDD39161}" type="datetimeFigureOut">
              <a:rPr lang="ru-RU" smtClean="0"/>
              <a:t>13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ECCBD0-277D-48A6-89BE-C931F9C187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82640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AAA2F3E-B21F-C481-9DFC-69FEE13447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EDF3A6D-5968-FFE1-7CF7-D6B05FFBE6B5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90989494-9CB2-26A3-6664-6B2BD7603293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791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EC7F88-826E-9B7F-5319-5965C5F496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1A277CD-E6E9-48AD-F017-3E18A8695E48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7BD6D3C8-E52B-9B2B-E6F1-D260141EACD0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9429828-2323-0D85-68BE-5EADC9D5D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50399" r="79681" b="724"/>
          <a:stretch/>
        </p:blipFill>
        <p:spPr>
          <a:xfrm>
            <a:off x="0" y="3429000"/>
            <a:ext cx="2423886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038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330683-699C-150D-CAD8-934C0B25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B9D8F-1C2C-7969-1E8D-E2900A1A240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A9ED4E5-BF69-E730-F789-86BE14B76B66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4975FE2-213F-E442-88F6-779083CEC1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64" t="1522" r="489" b="41998"/>
          <a:stretch/>
        </p:blipFill>
        <p:spPr>
          <a:xfrm>
            <a:off x="8374742" y="0"/>
            <a:ext cx="3817257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53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9FCB31-1594-71FA-00F3-B343129F44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1AB272-E44E-D283-5409-800724681D63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6" name="Текст 1">
            <a:extLst>
              <a:ext uri="{FF2B5EF4-FFF2-40B4-BE49-F238E27FC236}">
                <a16:creationId xmlns:a16="http://schemas.microsoft.com/office/drawing/2014/main" id="{CADCFE0E-ADAB-08A4-0DE1-151EEF9FA4C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Рисунок 9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483C3F96-44B6-9378-355F-F96EBB399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4609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D96B10B-D1F2-2889-7740-2A1AAD6A03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A48931-DE1B-7B9C-7557-0D74F3271C78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B1C82FB5-334E-B35D-0144-3A501DBFC69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65BE0369-A2BE-E57B-F0F4-6659ECDF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" t="1520" r="78514" b="762"/>
          <a:stretch/>
        </p:blipFill>
        <p:spPr>
          <a:xfrm>
            <a:off x="0" y="0"/>
            <a:ext cx="25802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98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8DF91234-A22E-7EA1-DC80-8DFCB7049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>
            <a:off x="8290560" y="563880"/>
            <a:ext cx="3901440" cy="4160520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9C1204-1853-2617-E9D4-65A046D117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 rot="10800000">
            <a:off x="1" y="563880"/>
            <a:ext cx="3901440" cy="416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793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5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6" indent="0" algn="ctr">
              <a:buNone/>
              <a:defRPr sz="1600"/>
            </a:lvl4pPr>
            <a:lvl5pPr marL="1828821" indent="0" algn="ctr">
              <a:buNone/>
              <a:defRPr sz="1600"/>
            </a:lvl5pPr>
            <a:lvl6pPr marL="2286027" indent="0" algn="ctr">
              <a:buNone/>
              <a:defRPr sz="1600"/>
            </a:lvl6pPr>
            <a:lvl7pPr marL="2743232" indent="0" algn="ctr">
              <a:buNone/>
              <a:defRPr sz="1600"/>
            </a:lvl7pPr>
            <a:lvl8pPr marL="3200438" indent="0" algn="ctr">
              <a:buNone/>
              <a:defRPr sz="1600"/>
            </a:lvl8pPr>
            <a:lvl9pPr marL="3657643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70286-9A37-49D5-84CC-170BFF34E83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4717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2" y="274638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2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6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5122054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7803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3" name="Слайд think-cell" r:id="rId14" imgW="383" imgH="384" progId="TCLayout.ActiveDocument.1">
                  <p:embed/>
                </p:oleObj>
              </mc:Choice>
              <mc:Fallback>
                <p:oleObj name="Слайд think-cell" r:id="rId1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uchitel.club/" TargetMode="External"/><Relationship Id="rId13" Type="http://schemas.openxmlformats.org/officeDocument/2006/relationships/hyperlink" Target="https://prosv.ru/" TargetMode="External"/><Relationship Id="rId3" Type="http://schemas.openxmlformats.org/officeDocument/2006/relationships/hyperlink" Target="https://prosv.ru/search/?search=%D0%BC%D0%B5%D1%82%D0%BE%D0%B4%D0%B8%D1%87%D0%B5%D1%81%D0%BA&amp;isAutocorrectQuery=true" TargetMode="External"/><Relationship Id="rId7" Type="http://schemas.openxmlformats.org/officeDocument/2006/relationships/hyperlink" Target="https://lecta.ru/vospitai/" TargetMode="External"/><Relationship Id="rId12" Type="http://schemas.openxmlformats.org/officeDocument/2006/relationships/hyperlink" Target="https://uchitel.club/workbooks" TargetMode="External"/><Relationship Id="rId2" Type="http://schemas.openxmlformats.org/officeDocument/2006/relationships/hyperlink" Target="https://clck.ru/3FieCX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lecta.ru/uchitelyu" TargetMode="External"/><Relationship Id="rId11" Type="http://schemas.openxmlformats.org/officeDocument/2006/relationships/hyperlink" Target="https://clck.ru/3FfRdn" TargetMode="External"/><Relationship Id="rId5" Type="http://schemas.openxmlformats.org/officeDocument/2006/relationships/hyperlink" Target="http://gotourl.ru/15991" TargetMode="External"/><Relationship Id="rId10" Type="http://schemas.openxmlformats.org/officeDocument/2006/relationships/hyperlink" Target="https://uchitel.club/fpu" TargetMode="External"/><Relationship Id="rId4" Type="http://schemas.openxmlformats.org/officeDocument/2006/relationships/hyperlink" Target="https://uchitel.club/constructor-profile-school?utm_source=uchitel.club&amp;utm_medium=top-banner&amp;utm_campaign=slider" TargetMode="External"/><Relationship Id="rId9" Type="http://schemas.openxmlformats.org/officeDocument/2006/relationships/hyperlink" Target="https://uchitel.club/fgo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clck.ru/39S3gf" TargetMode="External"/><Relationship Id="rId2" Type="http://schemas.openxmlformats.org/officeDocument/2006/relationships/hyperlink" Target="https://my.99ballov.ru/landing/trialege?utm_source=uchitel.club&amp;utm_medium=top-banner&amp;utm_campaign=slider&amp;erid=2VSb5wfzNgp" TargetMode="External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prosv.ru/catalog-all/" TargetMode="External"/><Relationship Id="rId4" Type="http://schemas.openxmlformats.org/officeDocument/2006/relationships/hyperlink" Target="https://uchitel.club/courses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chitel.club/lifeskills?utm_source=internal_prosv.ru&amp;utm_medium=projects-slider" TargetMode="External"/><Relationship Id="rId3" Type="http://schemas.openxmlformats.org/officeDocument/2006/relationships/hyperlink" Target="https://uchitel.club/school-workshops-list" TargetMode="External"/><Relationship Id="rId7" Type="http://schemas.openxmlformats.org/officeDocument/2006/relationships/hyperlink" Target="https://corp.prosv.ru/projects/urok-bezopasnosti" TargetMode="External"/><Relationship Id="rId2" Type="http://schemas.openxmlformats.org/officeDocument/2006/relationships/hyperlink" Target="https://uchitel.club/workshops-list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uchitel.club/vk-meetings" TargetMode="External"/><Relationship Id="rId11" Type="http://schemas.openxmlformats.org/officeDocument/2006/relationships/hyperlink" Target="https://prosv.ru/catalog-all/" TargetMode="External"/><Relationship Id="rId5" Type="http://schemas.openxmlformats.org/officeDocument/2006/relationships/hyperlink" Target="https://prosv.ru/parents/" TargetMode="External"/><Relationship Id="rId10" Type="http://schemas.openxmlformats.org/officeDocument/2006/relationships/hyperlink" Target="https://uchitel.club/profskills" TargetMode="External"/><Relationship Id="rId4" Type="http://schemas.openxmlformats.org/officeDocument/2006/relationships/hyperlink" Target="https://uchitel.club/workshops-proaktiv-klassnyh" TargetMode="External"/><Relationship Id="rId9" Type="http://schemas.openxmlformats.org/officeDocument/2006/relationships/hyperlink" Target="https://uchitel.club/culturalcod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27801" y="589348"/>
            <a:ext cx="11533517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Цифровой помощник для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чителей к учебникам издательства «Просвещение» по физике, химии и биологии (8 и 9 классы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) в </a:t>
            </a:r>
            <a:r>
              <a:rPr lang="ru-RU" b="1" u="sng" dirty="0" smtClean="0">
                <a:solidFill>
                  <a:schemeClr val="accent1">
                    <a:lumMod val="50000"/>
                  </a:schemeClr>
                </a:solidFill>
              </a:rPr>
              <a:t>бесплатном доступе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u="sng" dirty="0">
                <a:hlinkClick r:id="rId2"/>
              </a:rPr>
              <a:t>https://</a:t>
            </a:r>
            <a:r>
              <a:rPr lang="en-US" u="sng" dirty="0" smtClean="0">
                <a:hlinkClick r:id="rId2"/>
              </a:rPr>
              <a:t>clck.ru/3FieCX</a:t>
            </a:r>
            <a:r>
              <a:rPr lang="en-US" u="sng" dirty="0" smtClean="0"/>
              <a:t> 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Методические рекомендации, книги для учителей (скачать бесплатно)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s://prosv.ru/search/?search=%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D0%BC%D0%B5%D1%82%D0%BE%D0%B4%D0%B8%D1%87%D0%B5%D1%81%D0%BA&amp;isAutocorrectQuery=true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 </a:t>
            </a:r>
          </a:p>
          <a:p>
            <a:pPr>
              <a:spcAft>
                <a:spcPts val="0"/>
              </a:spcAft>
            </a:pPr>
            <a:endParaRPr lang="ru-RU" sz="8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Навигатор профильной школы.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Онлайн-сервис рекомендаций средств обучения под определенную направленность профиля на основе учебного плана школы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4"/>
              </a:rPr>
              <a:t>https://uchitel.club/constructor-profile-school?utm_source=uchitel.club&amp;utm_medium=top-banner&amp;utm_campaign=slider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Материалы «Функциональная грамотность»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hlinkClick r:id="rId5"/>
              </a:rPr>
              <a:t>http://gotourl.ru/15991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Цифровые сервисы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6"/>
              </a:rPr>
              <a:t>https://lecta.ru/uchitelyu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. </a:t>
            </a:r>
          </a:p>
          <a:p>
            <a:pPr>
              <a:spcAft>
                <a:spcPts val="0"/>
              </a:spcAft>
            </a:pPr>
            <a:endParaRPr lang="ru-RU" sz="8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Сервис «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</a:rPr>
              <a:t>ПРОвоспитани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в школе» в бесплатном доступе. 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</a:rPr>
              <a:t>Конструктор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</a:rPr>
              <a:t>рабочих программ воспитания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7"/>
              </a:rPr>
              <a:t>https://lecta.ru/vospitai/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Материалы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для учителей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расписание вебинаров, конференций, мастер-классов –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hlinkClick r:id="rId8"/>
              </a:rPr>
              <a:t>https://uchitel.club/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Работаем по ФОП и ФРП. Методические рекомендации учителям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9"/>
              </a:rPr>
              <a:t>https://uchitel.club/fgos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ФПУ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hlinkClick r:id="rId10"/>
              </a:rPr>
              <a:t>https://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  <a:hlinkClick r:id="rId10"/>
              </a:rPr>
              <a:t>uchitel.club/fpu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. Всероссийский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ебинар «ФПУ - 2024. Что необходимо учесть школе при формировании заказа?» </a:t>
            </a:r>
            <a:r>
              <a:rPr lang="ru-RU" u="sng" dirty="0">
                <a:hlinkClick r:id="rId11"/>
              </a:rPr>
              <a:t>https://</a:t>
            </a:r>
            <a:r>
              <a:rPr lang="ru-RU" u="sng" dirty="0" smtClean="0">
                <a:hlinkClick r:id="rId11"/>
              </a:rPr>
              <a:t>clck.ru/3FfRdn</a:t>
            </a:r>
            <a:endParaRPr lang="ru-RU" u="sng" dirty="0" smtClean="0"/>
          </a:p>
          <a:p>
            <a:pPr>
              <a:spcAft>
                <a:spcPts val="0"/>
              </a:spcAft>
            </a:pPr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Цифровые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рабочие тетради Группы компаний «Просвещения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»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12"/>
              </a:rPr>
              <a:t>https://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12"/>
              </a:rPr>
              <a:t>uchitel.club/workbooks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800" dirty="0" smtClean="0">
                <a:solidFill>
                  <a:schemeClr val="accent1">
                    <a:lumMod val="50000"/>
                  </a:schemeClr>
                </a:solidFill>
              </a:rPr>
              <a:t>. 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Прямоугольник 4">
            <a:extLst>
              <a:ext uri="{FF2B5EF4-FFF2-40B4-BE49-F238E27FC236}">
                <a16:creationId xmlns:a16="http://schemas.microsoft.com/office/drawing/2014/main" id="{17496F56-2417-893E-DC9E-292323E3D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3303" y="96819"/>
            <a:ext cx="8307238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Полезные материалы «Просвещения»</a:t>
            </a:r>
            <a:r>
              <a:rPr lang="en-US" altLang="ru-RU" sz="2400" b="1" i="1" dirty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 </a:t>
            </a:r>
            <a:r>
              <a:rPr lang="en-US" altLang="ru-RU" sz="2400" b="1" i="1" dirty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  <a:hlinkClick r:id="rId13"/>
              </a:rPr>
              <a:t>https://prosv.ru</a:t>
            </a:r>
            <a:r>
              <a:rPr lang="en-US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  <a:hlinkClick r:id="rId13"/>
              </a:rPr>
              <a:t>/</a:t>
            </a:r>
            <a:r>
              <a:rPr lang="ru-RU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 </a:t>
            </a:r>
            <a:r>
              <a:rPr lang="en-US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 </a:t>
            </a:r>
            <a:r>
              <a:rPr lang="ru-RU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5835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7496F56-2417-893E-DC9E-292323E3D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936" y="152884"/>
            <a:ext cx="11317856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ru-RU" altLang="ru-RU" sz="2400" b="1" i="1" dirty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Проекты  </a:t>
            </a:r>
            <a:r>
              <a:rPr lang="ru-RU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и дополнительные материалы ГК  </a:t>
            </a:r>
            <a:r>
              <a:rPr lang="ru-RU" altLang="ru-RU" sz="2400" b="1" i="1" dirty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«Просвещение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57200" y="844650"/>
            <a:ext cx="10110158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Федеральный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ект пробного онлайн-тестирования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АО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«Издательство «Просвещение» при участии ООО «99 БАЛЛОВ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». «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бный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ЕГЭ»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включает: 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свободный доступ для педагогов и учащихся к цифровой платформе «99 БАЛЛОВ», на которой будет проводиться тестирование;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ежемесячный мониторинг знаний по 11 учебным предметам: математика (профильный и базовый уровни), информатика, физика, русский язык, литература, иностранный язык, биология, химия, история, обществознание, география;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никальные задания, выполнение которых исключает возможность списывания;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автоматическую проверку первой части тестовых заданий;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олная аналитика результатов пробных тестирований в личном кабинете учителя                              для выстраивания индивидуальных маршрутов подготовки обучающихся.</a:t>
            </a:r>
          </a:p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Узнать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о дополнительных возможностях и зарегистрироваться на «Пробный ЕГЭ» можно по ссылке: </a:t>
            </a:r>
            <a:r>
              <a:rPr lang="en-US" u="sng" dirty="0">
                <a:hlinkClick r:id="rId2"/>
              </a:rPr>
              <a:t>https://</a:t>
            </a:r>
            <a:r>
              <a:rPr lang="en-US" u="sng" dirty="0" smtClean="0">
                <a:hlinkClick r:id="rId2"/>
              </a:rPr>
              <a:t>my.99ballov.ru/landing/trialege?utm_source=uchitel.club&amp;utm_medium=top-banner&amp;utm_campaign=slider&amp;erid=2VSb5wfzNgp</a:t>
            </a:r>
            <a:r>
              <a:rPr lang="ru-RU" u="sng" dirty="0" smtClean="0"/>
              <a:t> </a:t>
            </a:r>
            <a:r>
              <a:rPr lang="ru-RU" dirty="0" smtClean="0"/>
              <a:t> </a:t>
            </a:r>
          </a:p>
          <a:p>
            <a:endParaRPr lang="ru-RU" sz="800" dirty="0"/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ОО «99 баллов»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- онлайн школа по подготовке к ЕГЭ и ОГЭ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s://clck.ru/39S3gf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Курсы повышения квалификаци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4"/>
              </a:rPr>
              <a:t>https://uchitel.club/courses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тернет-магазин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5"/>
              </a:rPr>
              <a:t>https://prosv.ru/catalog-all/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00664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>
            <a:extLst>
              <a:ext uri="{FF2B5EF4-FFF2-40B4-BE49-F238E27FC236}">
                <a16:creationId xmlns:a16="http://schemas.microsoft.com/office/drawing/2014/main" id="{17496F56-2417-893E-DC9E-292323E3D3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936" y="228533"/>
            <a:ext cx="11542143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ru-RU" altLang="ru-RU" sz="2400" b="1" i="1" dirty="0" smtClean="0">
                <a:solidFill>
                  <a:schemeClr val="accent1">
                    <a:lumMod val="50000"/>
                  </a:schemeClr>
                </a:solidFill>
                <a:cs typeface="Open Sans Condensed" pitchFamily="2" charset="0"/>
              </a:rPr>
              <a:t>Проекты и дополнительные материалы  ГК  «Просвещение»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93299" y="756397"/>
            <a:ext cx="11447253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Методические мастерские 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</a:rPr>
              <a:t>(копилка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полезной информации: видео- и аудиоматериалы, методические разработки, статьи и др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</a:rPr>
              <a:t>.)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- педагогов 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https://uchitel.club/workshops-list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- школ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s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://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uchitel.club/school-workshops-list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 - классных руководителей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4"/>
              </a:rPr>
              <a:t>https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4"/>
              </a:rPr>
              <a:t>://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4"/>
              </a:rPr>
              <a:t>uchitel.club/workshops-proaktiv-klassnyh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«Просвещение начинается с семьи»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</a:rPr>
              <a:t>Пространство для родителей.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5"/>
              </a:rPr>
              <a:t>https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5"/>
              </a:rPr>
              <a:t>://prosv.ru/parents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hlinkClick r:id="rId5"/>
              </a:rPr>
              <a:t>/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«Просто детский сад».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Онлайн-встречи с экспертами в области дошкольного детства для родителей юных первооткрывателей 4-7 лет.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6"/>
              </a:rPr>
              <a:t>https://uchitel.club/vk-meetings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роект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«Урок безопасности»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это интерактивный банк полезных ресурсов по различным направлениям безопасности жизнедеятельности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7"/>
              </a:rPr>
              <a:t>https://corp.prosv.ru/projects/urok-bezopasnosti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endParaRPr lang="ru-RU" sz="8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Школа вопросов 21 век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оект для поиска ответов на жизненные вопросы (6+)</a:t>
            </a:r>
            <a:r>
              <a:rPr lang="ru-RU" dirty="0"/>
              <a:t> </a:t>
            </a:r>
            <a:r>
              <a:rPr lang="en-US" dirty="0">
                <a:hlinkClick r:id="rId8"/>
              </a:rPr>
              <a:t>https://uchitel.club/lifeskills?utm_source=internal_prosv.ru&amp;utm_medium=projects-slider</a:t>
            </a:r>
            <a:r>
              <a:rPr lang="ru-RU" dirty="0"/>
              <a:t> </a:t>
            </a:r>
            <a:r>
              <a:rPr lang="en-US" dirty="0"/>
              <a:t> </a:t>
            </a:r>
          </a:p>
          <a:p>
            <a:endParaRPr lang="ru-RU" sz="800" b="1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СЕРОССИЙСКИЙ ОНЛАЙН-ПРОЕКТ Код искусства: расшифровывая культуру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9"/>
              </a:rPr>
              <a:t>https://uchitel.club/culturalcode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>
              <a:spcAft>
                <a:spcPts val="0"/>
              </a:spcAft>
            </a:pPr>
            <a:endParaRPr lang="ru-RU" sz="800" b="1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«Профориентация: уверенное будущее ребёнка».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Нескучная программа о выборе профессионального пути. Помогаем педагогам, поддерживаем родителей и направляем школьников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  <a:hlinkClick r:id="rId10"/>
              </a:rPr>
              <a:t>https://uchitel.club/profskills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endParaRPr lang="ru-RU" sz="8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Каталог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дукции и сервисов Просвещения </a:t>
            </a:r>
            <a:r>
              <a:rPr lang="ru-RU" u="sng" dirty="0">
                <a:hlinkClick r:id="rId11"/>
              </a:rPr>
              <a:t>https://prosv.ru/catalog-all/</a:t>
            </a:r>
            <a:r>
              <a:rPr lang="ru-RU" u="sng" dirty="0"/>
              <a:t> 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07530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943</TotalTime>
  <Words>503</Words>
  <Application>Microsoft Office PowerPoint</Application>
  <PresentationFormat>Широкоэкранный</PresentationFormat>
  <Paragraphs>56</Paragraphs>
  <Slides>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Open Sans Condense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Ларина Ольга Александровна</cp:lastModifiedBy>
  <cp:revision>967</cp:revision>
  <cp:lastPrinted>2022-10-12T10:48:05Z</cp:lastPrinted>
  <dcterms:created xsi:type="dcterms:W3CDTF">2020-02-25T09:30:21Z</dcterms:created>
  <dcterms:modified xsi:type="dcterms:W3CDTF">2025-02-13T08:28:51Z</dcterms:modified>
</cp:coreProperties>
</file>